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6" r:id="rId5"/>
    <p:sldMasterId id="2147483712" r:id="rId6"/>
  </p:sldMasterIdLst>
  <p:notesMasterIdLst>
    <p:notesMasterId r:id="rId8"/>
  </p:notesMasterIdLst>
  <p:sldIdLst>
    <p:sldId id="274" r:id="rId7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38" userDrawn="1">
          <p15:clr>
            <a:srgbClr val="A4A3A4"/>
          </p15:clr>
        </p15:guide>
        <p15:guide id="2" pos="937" userDrawn="1">
          <p15:clr>
            <a:srgbClr val="A4A3A4"/>
          </p15:clr>
        </p15:guide>
        <p15:guide id="3" pos="6743" userDrawn="1">
          <p15:clr>
            <a:srgbClr val="A4A3A4"/>
          </p15:clr>
        </p15:guide>
        <p15:guide id="4" orient="horz" pos="1185" userDrawn="1">
          <p15:clr>
            <a:srgbClr val="A4A3A4"/>
          </p15:clr>
        </p15:guide>
        <p15:guide id="5" pos="7333" userDrawn="1">
          <p15:clr>
            <a:srgbClr val="A4A3A4"/>
          </p15:clr>
        </p15:guide>
        <p15:guide id="6" orient="horz" pos="3702" userDrawn="1">
          <p15:clr>
            <a:srgbClr val="A4A3A4"/>
          </p15:clr>
        </p15:guide>
        <p15:guide id="7" orient="horz" pos="637" userDrawn="1">
          <p15:clr>
            <a:srgbClr val="A4A3A4"/>
          </p15:clr>
        </p15:guide>
        <p15:guide id="8" pos="1844" userDrawn="1">
          <p15:clr>
            <a:srgbClr val="A4A3A4"/>
          </p15:clr>
        </p15:guide>
        <p15:guide id="9" orient="horz" pos="377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yer Raphael (KOM-PGA-VSF)" initials="RMe" lastIdx="1" clrIdx="0">
    <p:extLst>
      <p:ext uri="{19B8F6BF-5375-455C-9EA6-DF929625EA0E}">
        <p15:presenceInfo xmlns:p15="http://schemas.microsoft.com/office/powerpoint/2012/main" userId="Meyer Raphael (KOM-PGA-VSF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A20013"/>
    <a:srgbClr val="A8A8A8"/>
    <a:srgbClr val="F6F6F6"/>
    <a:srgbClr val="E5E5E5"/>
    <a:srgbClr val="C60018"/>
    <a:srgbClr val="767676"/>
    <a:srgbClr val="0079C7"/>
    <a:srgbClr val="8D8D8D"/>
    <a:srgbClr val="5A5A5A"/>
    <a:srgbClr val="44444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11" d="100"/>
          <a:sy n="111" d="100"/>
        </p:scale>
        <p:origin x="792" y="86"/>
      </p:cViewPr>
      <p:guideLst>
        <p:guide orient="horz" pos="3838"/>
        <p:guide pos="937"/>
        <p:guide pos="6743"/>
        <p:guide orient="horz" pos="1185"/>
        <p:guide pos="7333"/>
        <p:guide orient="horz" pos="3702"/>
        <p:guide orient="horz" pos="637"/>
        <p:guide pos="1844"/>
        <p:guide orient="horz" pos="377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commentAuthors" Target="commentAuthors.xml"/><Relationship Id="rId14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Weigel Stefan (PAR-EPS)" userId="fd3b2067-2981-4ad8-bf3a-d2e1004e4fa8" providerId="ADAL" clId="{A4CFA2F4-FF8D-446B-B271-6DF568DBEADA}"/>
    <pc:docChg chg="modSld">
      <pc:chgData name="Weigel Stefan (PAR-EPS)" userId="fd3b2067-2981-4ad8-bf3a-d2e1004e4fa8" providerId="ADAL" clId="{A4CFA2F4-FF8D-446B-B271-6DF568DBEADA}" dt="2026-02-12T08:14:20.244" v="13" actId="27918"/>
      <pc:docMkLst>
        <pc:docMk/>
      </pc:docMkLst>
      <pc:sldChg chg="modSp mod">
        <pc:chgData name="Weigel Stefan (PAR-EPS)" userId="fd3b2067-2981-4ad8-bf3a-d2e1004e4fa8" providerId="ADAL" clId="{A4CFA2F4-FF8D-446B-B271-6DF568DBEADA}" dt="2026-02-12T08:14:20.244" v="13" actId="27918"/>
        <pc:sldMkLst>
          <pc:docMk/>
          <pc:sldMk cId="3332483854" sldId="274"/>
        </pc:sldMkLst>
        <pc:spChg chg="mod">
          <ac:chgData name="Weigel Stefan (PAR-EPS)" userId="fd3b2067-2981-4ad8-bf3a-d2e1004e4fa8" providerId="ADAL" clId="{A4CFA2F4-FF8D-446B-B271-6DF568DBEADA}" dt="2026-01-23T15:29:19.708" v="1" actId="20577"/>
          <ac:spMkLst>
            <pc:docMk/>
            <pc:sldMk cId="3332483854" sldId="274"/>
            <ac:spMk id="9" creationId="{EDD67ED6-309E-4568-8371-347A20E330DA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7096870986904114"/>
          <c:y val="6.9870012075128385E-2"/>
          <c:w val="0.78751411245845049"/>
          <c:h val="0.79446254583648468"/>
        </c:manualLayout>
      </c:layout>
      <c:barChart>
        <c:barDir val="bar"/>
        <c:grouping val="clustered"/>
        <c:varyColors val="0"/>
        <c:ser>
          <c:idx val="1"/>
          <c:order val="0"/>
          <c:tx>
            <c:strRef>
              <c:f>data!$I$2</c:f>
              <c:strCache>
                <c:ptCount val="1"/>
                <c:pt idx="0">
                  <c:v>2025</c:v>
                </c:pt>
              </c:strCache>
            </c:strRef>
          </c:tx>
          <c:spPr>
            <a:solidFill>
              <a:srgbClr val="A20013"/>
            </a:solidFill>
          </c:spPr>
          <c:invertIfNegative val="0"/>
          <c:cat>
            <c:strRef>
              <c:f>data!$G$3:$G$14</c:f>
              <c:strCache>
                <c:ptCount val="12"/>
                <c:pt idx="0">
                  <c:v>St. Gallen</c:v>
                </c:pt>
                <c:pt idx="1">
                  <c:v>Olten</c:v>
                </c:pt>
                <c:pt idx="2">
                  <c:v>Aarau</c:v>
                </c:pt>
                <c:pt idx="3">
                  <c:v>Zürich Stadelhofen</c:v>
                </c:pt>
                <c:pt idx="4">
                  <c:v>Zürich Oerlikon</c:v>
                </c:pt>
                <c:pt idx="5">
                  <c:v>Winterthur</c:v>
                </c:pt>
                <c:pt idx="6">
                  <c:v>Lausanne</c:v>
                </c:pt>
                <c:pt idx="7">
                  <c:v>Basel SBB</c:v>
                </c:pt>
                <c:pt idx="8">
                  <c:v>Luzern</c:v>
                </c:pt>
                <c:pt idx="9">
                  <c:v>Genève</c:v>
                </c:pt>
                <c:pt idx="10">
                  <c:v>Bern</c:v>
                </c:pt>
                <c:pt idx="11">
                  <c:v>Zürich HB</c:v>
                </c:pt>
              </c:strCache>
            </c:strRef>
          </c:cat>
          <c:val>
            <c:numRef>
              <c:f>data!$I$3:$I$14</c:f>
              <c:numCache>
                <c:formatCode>#,##0</c:formatCode>
                <c:ptCount val="12"/>
                <c:pt idx="0">
                  <c:v>77800</c:v>
                </c:pt>
                <c:pt idx="1">
                  <c:v>78300</c:v>
                </c:pt>
                <c:pt idx="2">
                  <c:v>78500</c:v>
                </c:pt>
                <c:pt idx="3">
                  <c:v>93000</c:v>
                </c:pt>
                <c:pt idx="4">
                  <c:v>118300</c:v>
                </c:pt>
                <c:pt idx="5">
                  <c:v>132300</c:v>
                </c:pt>
                <c:pt idx="6">
                  <c:v>134400</c:v>
                </c:pt>
                <c:pt idx="7">
                  <c:v>141800</c:v>
                </c:pt>
                <c:pt idx="8">
                  <c:v>153800</c:v>
                </c:pt>
                <c:pt idx="9">
                  <c:v>183000</c:v>
                </c:pt>
                <c:pt idx="10">
                  <c:v>310200</c:v>
                </c:pt>
                <c:pt idx="11">
                  <c:v>4264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05A-4BFC-B039-8395A69970B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25"/>
        <c:axId val="135650304"/>
        <c:axId val="135648768"/>
        <c:extLst>
          <c:ext xmlns:c15="http://schemas.microsoft.com/office/drawing/2012/chart" uri="{02D57815-91ED-43cb-92C2-25804820EDAC}">
            <c15:filteredBarSeries>
              <c15:ser>
                <c:idx val="0"/>
                <c:order val="1"/>
                <c:tx>
                  <c:strRef>
                    <c:extLst>
                      <c:ext uri="{02D57815-91ED-43cb-92C2-25804820EDAC}">
                        <c15:formulaRef>
                          <c15:sqref>data!$H$2</c15:sqref>
                        </c15:formulaRef>
                      </c:ext>
                    </c:extLst>
                    <c:strCache>
                      <c:ptCount val="1"/>
                      <c:pt idx="0">
                        <c:v>2024</c:v>
                      </c:pt>
                    </c:strCache>
                  </c:strRef>
                </c:tx>
                <c:spPr>
                  <a:solidFill>
                    <a:srgbClr val="A8A8A8"/>
                  </a:solidFill>
                </c:spPr>
                <c:invertIfNegative val="0"/>
                <c:dPt>
                  <c:idx val="10"/>
                  <c:invertIfNegative val="0"/>
                  <c:bubble3D val="0"/>
                  <c:extLst>
                    <c:ext xmlns:c16="http://schemas.microsoft.com/office/drawing/2014/chart" uri="{C3380CC4-5D6E-409C-BE32-E72D297353CC}">
                      <c16:uniqueId val="{00000001-F05A-4BFC-B039-8395A69970BE}"/>
                    </c:ext>
                  </c:extLst>
                </c:dPt>
                <c:cat>
                  <c:strRef>
                    <c:extLst>
                      <c:ext uri="{02D57815-91ED-43cb-92C2-25804820EDAC}">
                        <c15:formulaRef>
                          <c15:sqref>data!$G$3:$G$14</c15:sqref>
                        </c15:formulaRef>
                      </c:ext>
                    </c:extLst>
                    <c:strCache>
                      <c:ptCount val="12"/>
                      <c:pt idx="0">
                        <c:v>St. Gallen</c:v>
                      </c:pt>
                      <c:pt idx="1">
                        <c:v>Olten</c:v>
                      </c:pt>
                      <c:pt idx="2">
                        <c:v>Aarau</c:v>
                      </c:pt>
                      <c:pt idx="3">
                        <c:v>Zürich Stadelhofen</c:v>
                      </c:pt>
                      <c:pt idx="4">
                        <c:v>Zürich Oerlikon</c:v>
                      </c:pt>
                      <c:pt idx="5">
                        <c:v>Winterthur</c:v>
                      </c:pt>
                      <c:pt idx="6">
                        <c:v>Lausanne</c:v>
                      </c:pt>
                      <c:pt idx="7">
                        <c:v>Basel SBB</c:v>
                      </c:pt>
                      <c:pt idx="8">
                        <c:v>Luzern</c:v>
                      </c:pt>
                      <c:pt idx="9">
                        <c:v>Genève</c:v>
                      </c:pt>
                      <c:pt idx="10">
                        <c:v>Bern</c:v>
                      </c:pt>
                      <c:pt idx="11">
                        <c:v>Zürich HB</c:v>
                      </c:pt>
                    </c:strCache>
                  </c:strRef>
                </c:cat>
                <c:val>
                  <c:numRef>
                    <c:extLst>
                      <c:ext uri="{02D57815-91ED-43cb-92C2-25804820EDAC}">
                        <c15:formulaRef>
                          <c15:sqref>data!$H$3:$H$14</c15:sqref>
                        </c15:formulaRef>
                      </c:ext>
                    </c:extLst>
                    <c:numCache>
                      <c:formatCode>#,##0</c:formatCode>
                      <c:ptCount val="12"/>
                      <c:pt idx="0">
                        <c:v>77400</c:v>
                      </c:pt>
                      <c:pt idx="1">
                        <c:v>69600</c:v>
                      </c:pt>
                      <c:pt idx="2">
                        <c:v>78600</c:v>
                      </c:pt>
                      <c:pt idx="3">
                        <c:v>84500</c:v>
                      </c:pt>
                      <c:pt idx="4">
                        <c:v>113800</c:v>
                      </c:pt>
                      <c:pt idx="5">
                        <c:v>134700</c:v>
                      </c:pt>
                      <c:pt idx="6">
                        <c:v>127900</c:v>
                      </c:pt>
                      <c:pt idx="7">
                        <c:v>140900</c:v>
                      </c:pt>
                      <c:pt idx="8">
                        <c:v>145400</c:v>
                      </c:pt>
                      <c:pt idx="9">
                        <c:v>173100</c:v>
                      </c:pt>
                      <c:pt idx="10">
                        <c:v>298900</c:v>
                      </c:pt>
                      <c:pt idx="11">
                        <c:v>405200</c:v>
                      </c:pt>
                    </c:numCache>
                  </c:numRef>
                </c:val>
                <c:extLst>
                  <c:ext xmlns:c16="http://schemas.microsoft.com/office/drawing/2014/chart" uri="{C3380CC4-5D6E-409C-BE32-E72D297353CC}">
                    <c16:uniqueId val="{00000002-F05A-4BFC-B039-8395A69970BE}"/>
                  </c:ext>
                </c:extLst>
              </c15:ser>
            </c15:filteredBarSeries>
          </c:ext>
        </c:extLst>
      </c:barChart>
      <c:valAx>
        <c:axId val="135648768"/>
        <c:scaling>
          <c:orientation val="minMax"/>
        </c:scaling>
        <c:delete val="0"/>
        <c:axPos val="b"/>
        <c:majorGridlines>
          <c:spPr>
            <a:ln w="6350">
              <a:solidFill>
                <a:srgbClr val="D9D9D9"/>
              </a:solidFill>
            </a:ln>
          </c:spPr>
        </c:majorGridlines>
        <c:numFmt formatCode="#\ ##0" sourceLinked="0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100">
                <a:solidFill>
                  <a:srgbClr val="444444"/>
                </a:solidFill>
              </a:defRPr>
            </a:pPr>
            <a:endParaRPr lang="de-DE"/>
          </a:p>
        </c:txPr>
        <c:crossAx val="135650304"/>
        <c:crosses val="autoZero"/>
        <c:crossBetween val="between"/>
        <c:majorUnit val="100000"/>
      </c:valAx>
      <c:catAx>
        <c:axId val="135650304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low"/>
        <c:spPr>
          <a:ln w="9525">
            <a:solidFill>
              <a:srgbClr val="5A5A5A"/>
            </a:solidFill>
          </a:ln>
        </c:spPr>
        <c:txPr>
          <a:bodyPr/>
          <a:lstStyle/>
          <a:p>
            <a:pPr>
              <a:defRPr sz="1100">
                <a:solidFill>
                  <a:srgbClr val="444444"/>
                </a:solidFill>
              </a:defRPr>
            </a:pPr>
            <a:endParaRPr lang="de-DE"/>
          </a:p>
        </c:txPr>
        <c:crossAx val="135648768"/>
        <c:crosses val="autoZero"/>
        <c:auto val="0"/>
        <c:lblAlgn val="ctr"/>
        <c:lblOffset val="100"/>
        <c:noMultiLvlLbl val="0"/>
      </c:catAx>
    </c:plotArea>
    <c:plotVisOnly val="1"/>
    <c:dispBlanksAs val="gap"/>
    <c:showDLblsOverMax val="0"/>
  </c:chart>
  <c:txPr>
    <a:bodyPr/>
    <a:lstStyle/>
    <a:p>
      <a:pPr>
        <a:defRPr sz="1800"/>
      </a:pPr>
      <a:endParaRPr lang="de-DE"/>
    </a:p>
  </c:txPr>
  <c:externalData r:id="rId1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5975E2-D668-4E51-9A3C-34EDD7C4EB22}" type="datetimeFigureOut">
              <a:rPr lang="de-CH" smtClean="0"/>
              <a:t>03.03.2026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DECC79-EE51-48EB-A65E-A2A214B69F64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15436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BB • Division • Abteilung oder Bereich • DD.MM.YY</a:t>
            </a:r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ED26404-58E8-4486-905C-9BBBD7B83F82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4807457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4800" y="4773149"/>
            <a:ext cx="11032720" cy="614400"/>
          </a:xfrm>
        </p:spPr>
        <p:txBody>
          <a:bodyPr wrap="square"/>
          <a:lstStyle>
            <a:lvl1pPr>
              <a:defRPr sz="4000"/>
            </a:lvl1pPr>
          </a:lstStyle>
          <a:p>
            <a:r>
              <a:rPr lang="de-DE"/>
              <a:t>Dies ist der Titel der Präsentation.</a:t>
            </a:r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24799" y="5521949"/>
            <a:ext cx="11033404" cy="326400"/>
          </a:xfrm>
        </p:spPr>
        <p:txBody>
          <a:bodyPr/>
          <a:lstStyle>
            <a:lvl1pPr marL="0" indent="0">
              <a:buNone/>
              <a:defRPr sz="2133" baseline="0"/>
            </a:lvl1pPr>
          </a:lstStyle>
          <a:p>
            <a:pPr lvl="0"/>
            <a:r>
              <a:rPr lang="de-DE"/>
              <a:t>Name Vortragender, Ort, Datum</a:t>
            </a:r>
          </a:p>
        </p:txBody>
      </p:sp>
      <p:pic>
        <p:nvPicPr>
          <p:cNvPr id="4" name="Logo_SBB_Cargo_D" hidden="1">
            <a:extLst>
              <a:ext uri="{FF2B5EF4-FFF2-40B4-BE49-F238E27FC236}">
                <a16:creationId xmlns:a16="http://schemas.microsoft.com/office/drawing/2014/main" id="{EE6A846E-FFDC-4636-B971-92215806F7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5" name="Logo_SBB_Cargo_H" hidden="1">
            <a:extLst>
              <a:ext uri="{FF2B5EF4-FFF2-40B4-BE49-F238E27FC236}">
                <a16:creationId xmlns:a16="http://schemas.microsoft.com/office/drawing/2014/main" id="{412E2250-6FCC-421A-895D-4FBDAB73688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Int_D" hidden="1">
            <a:extLst>
              <a:ext uri="{FF2B5EF4-FFF2-40B4-BE49-F238E27FC236}">
                <a16:creationId xmlns:a16="http://schemas.microsoft.com/office/drawing/2014/main" id="{EFF1882B-601E-421B-8CD9-BC363089533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8" name="Logo_SBB_CargoInt_H" hidden="1">
            <a:extLst>
              <a:ext uri="{FF2B5EF4-FFF2-40B4-BE49-F238E27FC236}">
                <a16:creationId xmlns:a16="http://schemas.microsoft.com/office/drawing/2014/main" id="{13966A66-44EB-4089-BB9B-5E88F060073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9" name="Logo_SBB_Standard_D" hidden="1">
            <a:extLst>
              <a:ext uri="{FF2B5EF4-FFF2-40B4-BE49-F238E27FC236}">
                <a16:creationId xmlns:a16="http://schemas.microsoft.com/office/drawing/2014/main" id="{A2C0EE81-74D3-4894-8536-82B010157F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0" name="Logo_SBB_Standard_H">
            <a:extLst>
              <a:ext uri="{FF2B5EF4-FFF2-40B4-BE49-F238E27FC236}">
                <a16:creationId xmlns:a16="http://schemas.microsoft.com/office/drawing/2014/main" id="{2470208F-A15C-4C0F-9FD1-3CC76EF6D56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1076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_SBB_Symbol">
            <a:extLst>
              <a:ext uri="{FF2B5EF4-FFF2-40B4-BE49-F238E27FC236}">
                <a16:creationId xmlns:a16="http://schemas.microsoft.com/office/drawing/2014/main" id="{C55278FF-3F13-4F04-BFA6-4D49C8DADB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06976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"/>
          <p:cNvSpPr/>
          <p:nvPr userDrawn="1"/>
        </p:nvSpPr>
        <p:spPr bwMode="ltGray">
          <a:xfrm>
            <a:off x="-7668" y="782129"/>
            <a:ext cx="10259683" cy="831724"/>
          </a:xfrm>
          <a:custGeom>
            <a:avLst/>
            <a:gdLst>
              <a:gd name="connsiteX0" fmla="*/ 7694762 w 7694762"/>
              <a:gd name="connsiteY0" fmla="*/ 1368725 h 4560498"/>
              <a:gd name="connsiteX1" fmla="*/ 7694762 w 7694762"/>
              <a:gd name="connsiteY1" fmla="*/ 4560498 h 4560498"/>
              <a:gd name="connsiteX2" fmla="*/ 0 w 7694762"/>
              <a:gd name="connsiteY2" fmla="*/ 4560498 h 4560498"/>
              <a:gd name="connsiteX3" fmla="*/ 0 w 7694762"/>
              <a:gd name="connsiteY3" fmla="*/ 0 h 4560498"/>
              <a:gd name="connsiteX4" fmla="*/ 7694762 w 7694762"/>
              <a:gd name="connsiteY4" fmla="*/ 1368725 h 4560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94762" h="4560498">
                <a:moveTo>
                  <a:pt x="7694762" y="1368725"/>
                </a:moveTo>
                <a:lnTo>
                  <a:pt x="7694762" y="4560498"/>
                </a:lnTo>
                <a:lnTo>
                  <a:pt x="0" y="4560498"/>
                </a:lnTo>
                <a:lnTo>
                  <a:pt x="0" y="0"/>
                </a:lnTo>
                <a:lnTo>
                  <a:pt x="7694762" y="1368725"/>
                </a:ln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720000" y="2616000"/>
            <a:ext cx="9217520" cy="3984000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4267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er Kapiteltext hat maximal 3 Zeilen.</a:t>
            </a:r>
          </a:p>
        </p:txBody>
      </p:sp>
      <p:pic>
        <p:nvPicPr>
          <p:cNvPr id="4" name="Logo_SBB_Symbol">
            <a:extLst>
              <a:ext uri="{FF2B5EF4-FFF2-40B4-BE49-F238E27FC236}">
                <a16:creationId xmlns:a16="http://schemas.microsoft.com/office/drawing/2014/main" id="{69BA78CF-CC2D-4B72-81CD-B590B9E07C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2341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1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2"/>
          <p:cNvSpPr/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7" name="Freeform 1"/>
          <p:cNvSpPr>
            <a:spLocks/>
          </p:cNvSpPr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4" y="1609837"/>
            <a:ext cx="3937428" cy="3163312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4620A341-5696-4DBC-9BA9-4AE19CE248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88283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2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2"/>
          <p:cNvSpPr/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11" name="Freeform 1"/>
          <p:cNvSpPr>
            <a:spLocks/>
          </p:cNvSpPr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1" y="1645323"/>
            <a:ext cx="3937429" cy="4514056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0DAC85A2-2540-4A41-AD82-500D72C817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7437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545310"/>
            <a:ext cx="7296381" cy="1052341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</a:t>
            </a:r>
            <a:br>
              <a:rPr lang="de-CH" noProof="0"/>
            </a:br>
            <a:r>
              <a:rPr lang="de-CH" noProof="0"/>
              <a:t>Zwei Zeilen sind möglich.</a:t>
            </a:r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0400E809-12DA-4150-AF82-E56B110247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5238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641022"/>
            <a:ext cx="7296381" cy="956629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733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anke für Ihre Aufmerksamkeit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D4065558-8A0D-47BF-AD5E-F38F933913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_H" hidden="1">
            <a:extLst>
              <a:ext uri="{FF2B5EF4-FFF2-40B4-BE49-F238E27FC236}">
                <a16:creationId xmlns:a16="http://schemas.microsoft.com/office/drawing/2014/main" id="{A838A69E-C97D-4929-9329-46E4FEFFCC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9" name="Logo_SBB_CargoInt_D" hidden="1">
            <a:extLst>
              <a:ext uri="{FF2B5EF4-FFF2-40B4-BE49-F238E27FC236}">
                <a16:creationId xmlns:a16="http://schemas.microsoft.com/office/drawing/2014/main" id="{B0B99F17-3089-4684-AF63-D1C50A56781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0" name="Logo_SBB_CargoInt_H" hidden="1">
            <a:extLst>
              <a:ext uri="{FF2B5EF4-FFF2-40B4-BE49-F238E27FC236}">
                <a16:creationId xmlns:a16="http://schemas.microsoft.com/office/drawing/2014/main" id="{85D83D19-9785-4C17-BB76-59F25553711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1" name="Logo_SBB_Standard_D" hidden="1">
            <a:extLst>
              <a:ext uri="{FF2B5EF4-FFF2-40B4-BE49-F238E27FC236}">
                <a16:creationId xmlns:a16="http://schemas.microsoft.com/office/drawing/2014/main" id="{860C43D7-48AF-4534-8923-B9081EB74F3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2" name="Logo_SBB_Standard_H">
            <a:extLst>
              <a:ext uri="{FF2B5EF4-FFF2-40B4-BE49-F238E27FC236}">
                <a16:creationId xmlns:a16="http://schemas.microsoft.com/office/drawing/2014/main" id="{03945263-FDE4-4196-982D-DC754FE51E4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2604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17355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203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401249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6717858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Logo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"/>
          <p:cNvSpPr>
            <a:spLocks/>
          </p:cNvSpPr>
          <p:nvPr userDrawn="1"/>
        </p:nvSpPr>
        <p:spPr>
          <a:xfrm>
            <a:off x="-19200" y="768897"/>
            <a:ext cx="4675040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9" name="Freeform 1"/>
          <p:cNvSpPr/>
          <p:nvPr userDrawn="1"/>
        </p:nvSpPr>
        <p:spPr>
          <a:xfrm>
            <a:off x="-19200" y="768895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372" y="4108200"/>
            <a:ext cx="3936000" cy="648000"/>
          </a:xfrm>
          <a:prstGeom prst="rect">
            <a:avLst/>
          </a:prstGeom>
        </p:spPr>
        <p:txBody>
          <a:bodyPr vert="horz"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 baseline="0">
                <a:solidFill>
                  <a:srgbClr val="FFFFFF"/>
                </a:solidFill>
              </a:defRPr>
            </a:lvl1pPr>
            <a:lvl2pPr marL="544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8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6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/>
              <a:t>Name Vortragender, Ort, Datum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31372" y="1583400"/>
            <a:ext cx="3936000" cy="2131200"/>
          </a:xfrm>
          <a:prstGeom prst="rect">
            <a:avLst/>
          </a:prstGeom>
        </p:spPr>
        <p:txBody>
          <a:bodyPr vert="horz" wrap="square" bIns="0">
            <a:noAutofit/>
          </a:bodyPr>
          <a:lstStyle>
            <a:lvl1pPr>
              <a:lnSpc>
                <a:spcPct val="100000"/>
              </a:lnSpc>
              <a:defRPr sz="3200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ies ist der Titel der Präsentation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CC98CB06-C3A4-4B7F-BEBD-55BC66C124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0" name="Logo_SBB_Cargo_H" hidden="1">
            <a:extLst>
              <a:ext uri="{FF2B5EF4-FFF2-40B4-BE49-F238E27FC236}">
                <a16:creationId xmlns:a16="http://schemas.microsoft.com/office/drawing/2014/main" id="{4135C476-AE98-4106-8AE0-13D2AE743A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1" name="Logo_SBB_CargoInt_D" hidden="1">
            <a:extLst>
              <a:ext uri="{FF2B5EF4-FFF2-40B4-BE49-F238E27FC236}">
                <a16:creationId xmlns:a16="http://schemas.microsoft.com/office/drawing/2014/main" id="{FD12A7B3-71B9-494B-91E8-8FFF57D1E04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2" name="Logo_SBB_CargoInt_H" hidden="1">
            <a:extLst>
              <a:ext uri="{FF2B5EF4-FFF2-40B4-BE49-F238E27FC236}">
                <a16:creationId xmlns:a16="http://schemas.microsoft.com/office/drawing/2014/main" id="{131A7DC8-9674-490D-A909-613CE2451C2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3" name="Logo_SBB_Standard_D" hidden="1">
            <a:extLst>
              <a:ext uri="{FF2B5EF4-FFF2-40B4-BE49-F238E27FC236}">
                <a16:creationId xmlns:a16="http://schemas.microsoft.com/office/drawing/2014/main" id="{846D5CAE-9CEF-48FD-827D-D7616C83ECB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4" name="Logo_SBB_Standard_H">
            <a:extLst>
              <a:ext uri="{FF2B5EF4-FFF2-40B4-BE49-F238E27FC236}">
                <a16:creationId xmlns:a16="http://schemas.microsoft.com/office/drawing/2014/main" id="{1A09026F-AB72-4393-BAF3-D0CF774B487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7599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40885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4962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13129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35939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831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2382716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137415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270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05572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90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Agenda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6" y="1509185"/>
            <a:ext cx="11039215" cy="5088467"/>
          </a:xfrm>
          <a:prstGeom prst="rect">
            <a:avLst/>
          </a:prstGeom>
        </p:spPr>
        <p:txBody>
          <a:bodyPr/>
          <a:lstStyle>
            <a:lvl1pPr marL="383990" indent="-383990">
              <a:spcBef>
                <a:spcPts val="800"/>
              </a:spcBef>
              <a:buSzPct val="100000"/>
              <a:buFont typeface="+mj-lt"/>
              <a:buAutoNum type="arabicPeriod"/>
              <a:defRPr/>
            </a:lvl1pPr>
            <a:lvl2pPr marL="723882" indent="-368291">
              <a:spcBef>
                <a:spcPts val="800"/>
              </a:spcBef>
              <a:defRPr/>
            </a:lvl2pPr>
            <a:lvl3pPr marL="1077357" indent="-353475">
              <a:spcBef>
                <a:spcPts val="800"/>
              </a:spcBef>
              <a:tabLst/>
              <a:defRPr/>
            </a:lvl3pPr>
            <a:lvl4pPr marL="1430831" indent="-353475">
              <a:spcBef>
                <a:spcPts val="800"/>
              </a:spcBef>
              <a:tabLst/>
              <a:defRPr/>
            </a:lvl4pPr>
            <a:lvl5pPr marL="1786422" indent="-355591">
              <a:spcBef>
                <a:spcPts val="800"/>
              </a:spcBef>
              <a:defRPr/>
            </a:lvl5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32278952-E884-4B4A-871D-42F338B3E8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8965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1636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80253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03190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43550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28515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99428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960761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50528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6289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09477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E59F5921-86CF-4E9B-A505-04830F74C0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4288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636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7310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74114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276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179782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74074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6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29891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30614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0356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40864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Zweispaltige 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384000" y="1509184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C346BCAC-1E9D-4596-9ACA-18319FE92E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8382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80995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06254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738247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78103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30609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960274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1054533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9970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56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3527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1509184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7E10FE14-391B-401F-99CE-D505082943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7274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576500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0111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57377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01919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23188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70142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33554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8219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27572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17859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2467200"/>
            <a:ext cx="11040000" cy="41280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509184"/>
            <a:ext cx="11038417" cy="854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0D917B75-7E27-45DF-8CD5-2AD4188F42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75470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00724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175679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17082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72119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10073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93037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66479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98640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6108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3903850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6864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7776000" y="1509184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80677793-ADFC-4517-B0B5-B82B75B2BC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40919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67145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6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574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0206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80847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81665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78577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dirty="0"/>
              <a:t>Die Objektfolie. </a:t>
            </a:r>
            <a:br>
              <a:rPr lang="de-CH" dirty="0"/>
            </a:br>
            <a:r>
              <a:rPr lang="de-CH" dirty="0"/>
              <a:t>Titel bitte maximal zweizeilig.</a:t>
            </a:r>
            <a:endParaRPr lang="de-CH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tat@sbb.ch 20.03.18</a:t>
            </a:r>
            <a:endParaRPr lang="de-CH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007533" y="1656000"/>
            <a:ext cx="10752667" cy="7207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288000" indent="0">
              <a:buNone/>
              <a:defRPr/>
            </a:lvl2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1007533" y="2451600"/>
            <a:ext cx="10752667" cy="3528016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377038714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22400" y="1509183"/>
            <a:ext cx="71376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08786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3CEA8AC4-6E4B-49CB-8DA7-6A86A278B6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59235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34" Type="http://schemas.openxmlformats.org/officeDocument/2006/relationships/slideLayout" Target="../slideLayouts/slideLayout49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slideLayout" Target="../slideLayouts/slideLayout48.xml"/><Relationship Id="rId38" Type="http://schemas.openxmlformats.org/officeDocument/2006/relationships/image" Target="../media/image10.emf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slideLayout" Target="../slideLayouts/slideLayout4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slideLayout" Target="../slideLayouts/slideLayout47.xml"/><Relationship Id="rId37" Type="http://schemas.openxmlformats.org/officeDocument/2006/relationships/image" Target="../media/image9.emf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slideLayout" Target="../slideLayouts/slideLayout46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slideLayout" Target="../slideLayouts/slideLayout45.xml"/><Relationship Id="rId35" Type="http://schemas.openxmlformats.org/officeDocument/2006/relationships/slideLayout" Target="../slideLayouts/slideLayout5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9" Type="http://schemas.openxmlformats.org/officeDocument/2006/relationships/image" Target="../media/image10.emf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34" Type="http://schemas.openxmlformats.org/officeDocument/2006/relationships/slideLayout" Target="../slideLayouts/slideLayout84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slideLayout" Target="../slideLayouts/slideLayout83.xml"/><Relationship Id="rId38" Type="http://schemas.openxmlformats.org/officeDocument/2006/relationships/image" Target="../media/image9.emf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82.xml"/><Relationship Id="rId37" Type="http://schemas.openxmlformats.org/officeDocument/2006/relationships/theme" Target="../theme/theme3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81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slideLayout" Target="../slideLayouts/slideLayout8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F61328A-DD5A-4376-9C6D-FC96B36418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72584447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416" imgH="416" progId="TCLayout.ActiveDocument.1">
                  <p:embed/>
                </p:oleObj>
              </mc:Choice>
              <mc:Fallback>
                <p:oleObj name="think-cell Folie" r:id="rId18" imgW="416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F61328A-DD5A-4376-9C6D-FC96B3641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0000" y="6595200"/>
            <a:ext cx="106896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/>
              <a:t>stat@sbb.ch 18.11.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3200" y="6595200"/>
            <a:ext cx="3168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platzhalter 2"/>
          <p:cNvSpPr>
            <a:spLocks noGrp="1"/>
          </p:cNvSpPr>
          <p:nvPr>
            <p:ph type="title"/>
          </p:nvPr>
        </p:nvSpPr>
        <p:spPr>
          <a:xfrm>
            <a:off x="720000" y="835200"/>
            <a:ext cx="11040200" cy="494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720000" y="1512000"/>
            <a:ext cx="11040000" cy="507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07758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sldNum="0" hdr="0" dt="0"/>
  <p:txStyles>
    <p:titleStyle>
      <a:lvl1pPr algn="l" defTabSz="1088406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83990" indent="-383990" algn="l" defTabSz="1088406" rtl="0" eaLnBrk="1" latinLnBrk="0" hangingPunct="1">
        <a:lnSpc>
          <a:spcPct val="100000"/>
        </a:lnSpc>
        <a:spcBef>
          <a:spcPts val="800"/>
        </a:spcBef>
        <a:buClr>
          <a:srgbClr val="FF0000"/>
        </a:buClr>
        <a:buSzPct val="80000"/>
        <a:buFont typeface="Wingdings 3" pitchFamily="18" charset="2"/>
        <a:buChar char="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3882" indent="-370408" algn="l" defTabSz="1088406" rtl="0" eaLnBrk="1" latinLnBrk="0" hangingPunct="1">
        <a:lnSpc>
          <a:spcPct val="100000"/>
        </a:lnSpc>
        <a:spcBef>
          <a:spcPts val="800"/>
        </a:spcBef>
        <a:buClr>
          <a:srgbClr val="000000"/>
        </a:buClr>
        <a:buSzPct val="80000"/>
        <a:buFont typeface="Arial" pitchFamily="34" charset="0"/>
        <a:buChar char="•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77357" indent="-353475" algn="l" defTabSz="1088406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SzPct val="90000"/>
        <a:buFont typeface="Symbol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0831" indent="-353475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86422" indent="-355591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CH" sz="2667" kern="1200" noProof="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993113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317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1519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5720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4202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88406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3260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7681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21011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65214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809417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5361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821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7" r:id="rId21"/>
    <p:sldLayoutId id="2147483698" r:id="rId22"/>
    <p:sldLayoutId id="2147483699" r:id="rId23"/>
    <p:sldLayoutId id="2147483700" r:id="rId24"/>
    <p:sldLayoutId id="2147483701" r:id="rId25"/>
    <p:sldLayoutId id="2147483702" r:id="rId26"/>
    <p:sldLayoutId id="2147483703" r:id="rId27"/>
    <p:sldLayoutId id="2147483704" r:id="rId28"/>
    <p:sldLayoutId id="2147483705" r:id="rId29"/>
    <p:sldLayoutId id="2147483706" r:id="rId30"/>
    <p:sldLayoutId id="2147483707" r:id="rId31"/>
    <p:sldLayoutId id="2147483708" r:id="rId32"/>
    <p:sldLayoutId id="2147483709" r:id="rId33"/>
    <p:sldLayoutId id="2147483710" r:id="rId34"/>
    <p:sldLayoutId id="2147483711" r:id="rId3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8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66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  <p:sldLayoutId id="2147483735" r:id="rId23"/>
    <p:sldLayoutId id="2147483736" r:id="rId24"/>
    <p:sldLayoutId id="2147483737" r:id="rId25"/>
    <p:sldLayoutId id="2147483738" r:id="rId26"/>
    <p:sldLayoutId id="2147483739" r:id="rId27"/>
    <p:sldLayoutId id="2147483740" r:id="rId28"/>
    <p:sldLayoutId id="2147483741" r:id="rId29"/>
    <p:sldLayoutId id="2147483742" r:id="rId30"/>
    <p:sldLayoutId id="2147483743" r:id="rId31"/>
    <p:sldLayoutId id="2147483744" r:id="rId32"/>
    <p:sldLayoutId id="2147483745" r:id="rId33"/>
    <p:sldLayoutId id="2147483746" r:id="rId34"/>
    <p:sldLayoutId id="2147483747" r:id="rId35"/>
    <p:sldLayoutId id="2147483748" r:id="rId36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9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6F6F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441158"/>
          </a:xfrm>
        </p:spPr>
        <p:txBody>
          <a:bodyPr/>
          <a:lstStyle/>
          <a:p>
            <a:r>
              <a:rPr lang="fr-CH" dirty="0"/>
              <a:t>Usagers des gares.</a:t>
            </a:r>
            <a:endParaRPr lang="de-CH" sz="1400" dirty="0"/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0148E78D-7FBB-46BC-A7E3-0EFE6D9E4679}"/>
              </a:ext>
            </a:extLst>
          </p:cNvPr>
          <p:cNvSpPr txBox="1"/>
          <p:nvPr/>
        </p:nvSpPr>
        <p:spPr>
          <a:xfrm>
            <a:off x="1487487" y="1019777"/>
            <a:ext cx="9004162" cy="2186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ct val="110000"/>
              </a:lnSpc>
            </a:pPr>
            <a:endParaRPr lang="de-CH" sz="1400" spc="30" dirty="0">
              <a:solidFill>
                <a:schemeClr val="accent3"/>
              </a:solidFill>
            </a:endParaRP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41B9B9AB-4B12-4760-AF37-4FABDDFAE68B}"/>
              </a:ext>
            </a:extLst>
          </p:cNvPr>
          <p:cNvSpPr txBox="1"/>
          <p:nvPr/>
        </p:nvSpPr>
        <p:spPr>
          <a:xfrm>
            <a:off x="1656495" y="5886548"/>
            <a:ext cx="7088260" cy="33855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l"/>
            <a:r>
              <a:rPr lang="fr-FR" sz="1100" kern="0" dirty="0">
                <a:solidFill>
                  <a:schemeClr val="tx2"/>
                </a:solidFill>
              </a:rPr>
              <a:t>Usagers des gares: personnes voyageant à bord des trains ou des transports publics, clients des commerces situés dans la gare, passants.</a:t>
            </a:r>
          </a:p>
        </p:txBody>
      </p: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CE60A944-7104-442D-B06A-85C8256131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976745" y="5885176"/>
            <a:ext cx="1727767" cy="170649"/>
          </a:xfrm>
        </p:spPr>
        <p:txBody>
          <a:bodyPr/>
          <a:lstStyle/>
          <a:p>
            <a:pPr algn="r"/>
            <a:r>
              <a:rPr lang="de-CH" sz="1100" kern="0" spc="0" dirty="0"/>
              <a:t>reporting.sbb.ch</a:t>
            </a:r>
          </a:p>
        </p:txBody>
      </p:sp>
      <p:graphicFrame>
        <p:nvGraphicFramePr>
          <p:cNvPr id="8" name="Diagramm 7">
            <a:extLst>
              <a:ext uri="{FF2B5EF4-FFF2-40B4-BE49-F238E27FC236}">
                <a16:creationId xmlns:a16="http://schemas.microsoft.com/office/drawing/2014/main" id="{7EC5479B-4A19-4827-9748-442A5719A39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02108038"/>
              </p:ext>
            </p:extLst>
          </p:nvPr>
        </p:nvGraphicFramePr>
        <p:xfrm>
          <a:off x="1300163" y="1572902"/>
          <a:ext cx="9527805" cy="430402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9" name="Textfeld 8">
            <a:extLst>
              <a:ext uri="{FF2B5EF4-FFF2-40B4-BE49-F238E27FC236}">
                <a16:creationId xmlns:a16="http://schemas.microsoft.com/office/drawing/2014/main" id="{EDD67ED6-309E-4568-8371-347A20E330DA}"/>
              </a:ext>
            </a:extLst>
          </p:cNvPr>
          <p:cNvSpPr txBox="1"/>
          <p:nvPr/>
        </p:nvSpPr>
        <p:spPr>
          <a:xfrm>
            <a:off x="1487488" y="1015830"/>
            <a:ext cx="9004162" cy="2186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fr-FR" sz="1400" spc="30" dirty="0">
                <a:solidFill>
                  <a:schemeClr val="accent3"/>
                </a:solidFill>
              </a:rPr>
              <a:t>Nombre moyen de déplacements de personnes par jour ouvré</a:t>
            </a:r>
            <a:r>
              <a:rPr kumimoji="0" lang="fr-FR" sz="1400" b="0" i="0" u="none" strike="noStrike" kern="1200" cap="none" spc="30" normalizeH="0" baseline="0" noProof="0" dirty="0">
                <a:ln>
                  <a:noFill/>
                </a:ln>
                <a:solidFill>
                  <a:srgbClr val="EB0000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 en 2025.</a:t>
            </a:r>
            <a:endParaRPr lang="fr-FR" sz="1400" spc="30" dirty="0">
              <a:solidFill>
                <a:schemeClr val="accent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3248385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20170515_PPT-Vorlage_NEU_16-9">
  <a:themeElements>
    <a:clrScheme name="SBB">
      <a:dk1>
        <a:srgbClr val="000000"/>
      </a:dk1>
      <a:lt1>
        <a:srgbClr val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FF0000"/>
      </a:accent6>
      <a:hlink>
        <a:srgbClr val="2D327D"/>
      </a:hlink>
      <a:folHlink>
        <a:srgbClr val="2D327D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/>
      <a:lstStyle>
        <a:defPPr>
          <a:defRPr noProof="0" dirty="0" smtClean="0"/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  <a:extLst>
    <a:ext uri="{05A4C25C-085E-4340-85A3-A5531E510DB2}">
      <thm15:themeFamily xmlns:thm15="http://schemas.microsoft.com/office/thememl/2012/main" name="20171027_PPT-Vorlage_NEU_16-9_DE.potx" id="{0F39B86A-6FEA-4482-98DD-A0AF78DA8361}" vid="{2F05930E-573E-4379-8421-B361C9D363BB}"/>
    </a:ext>
  </a:extLst>
</a:theme>
</file>

<file path=ppt/theme/theme2.xml><?xml version="1.0" encoding="utf-8"?>
<a:theme xmlns:a="http://schemas.openxmlformats.org/drawingml/2006/main" name="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Vorlage_16-9.potx" id="{AFB2A5A8-0A5A-4D2B-9D1C-2542F94FB30E}" vid="{15E43739-6510-4178-811B-133FA854CD7A}"/>
    </a:ext>
  </a:extLst>
</a:theme>
</file>

<file path=ppt/theme/theme3.xml><?xml version="1.0" encoding="utf-8"?>
<a:theme xmlns:a="http://schemas.openxmlformats.org/drawingml/2006/main" name="1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4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usgabe xmlns="2f5c8543-cf23-4718-a3b8-32b0a91d511a" xsi:nil="true"/>
    <SharedWithUsers xmlns="96e82a89-ba48-4728-b345-cf206dbec8f1">
      <UserInfo>
        <DisplayName/>
        <AccountId xsi:nil="true"/>
        <AccountType/>
      </UserInfo>
    </SharedWithUsers>
    <lcf76f155ced4ddcb4097134ff3c332f xmlns="2f5c8543-cf23-4718-a3b8-32b0a91d511a">
      <Terms xmlns="http://schemas.microsoft.com/office/infopath/2007/PartnerControls"/>
    </lcf76f155ced4ddcb4097134ff3c332f>
    <TaxCatchAll xmlns="96e82a89-ba48-4728-b345-cf206dbec8f1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F392CA6BBE5574789A5155D1822A344" ma:contentTypeVersion="19" ma:contentTypeDescription="Ein neues Dokument erstellen." ma:contentTypeScope="" ma:versionID="c2a5a59360d48a4c7af007c311c34caf">
  <xsd:schema xmlns:xsd="http://www.w3.org/2001/XMLSchema" xmlns:xs="http://www.w3.org/2001/XMLSchema" xmlns:p="http://schemas.microsoft.com/office/2006/metadata/properties" xmlns:ns2="96e82a89-ba48-4728-b345-cf206dbec8f1" xmlns:ns3="2f5c8543-cf23-4718-a3b8-32b0a91d511a" targetNamespace="http://schemas.microsoft.com/office/2006/metadata/properties" ma:root="true" ma:fieldsID="2a0d833e56c64ed4a0d1483acd601485" ns2:_="" ns3:_="">
    <xsd:import namespace="96e82a89-ba48-4728-b345-cf206dbec8f1"/>
    <xsd:import namespace="2f5c8543-cf23-4718-a3b8-32b0a91d511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Ausgabe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e82a89-ba48-4728-b345-cf206dbec8f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37e3da64-c71a-4074-9be5-101312c09dec}" ma:internalName="TaxCatchAll" ma:showField="CatchAllData" ma:web="96e82a89-ba48-4728-b345-cf206dbec8f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5c8543-cf23-4718-a3b8-32b0a91d511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Ausgabe" ma:index="14" nillable="true" ma:displayName="Ausgabe" ma:description="Ausgabe des Dokumentes" ma:format="RadioButtons" ma:internalName="Ausgabe">
      <xsd:simpleType>
        <xsd:union memberTypes="dms:Text">
          <xsd:simpleType>
            <xsd:restriction base="dms:Choice">
              <xsd:enumeration value="2016"/>
              <xsd:enumeration value="2017"/>
              <xsd:enumeration value="2018"/>
              <xsd:enumeration value="2019"/>
            </xsd:restriction>
          </xsd:simpleType>
        </xsd:un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Bildmarkierungen" ma:readOnly="false" ma:fieldId="{5cf76f15-5ced-4ddc-b409-7134ff3c332f}" ma:taxonomyMulti="true" ma:sspId="2e7e7b05-955d-4ec1-8c45-691041b8b00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D915E158-F398-42BF-8A91-7C2A147B9234}">
  <ds:schemaRefs>
    <ds:schemaRef ds:uri="http://purl.org/dc/elements/1.1/"/>
    <ds:schemaRef ds:uri="http://schemas.microsoft.com/office/infopath/2007/PartnerControls"/>
    <ds:schemaRef ds:uri="http://purl.org/dc/terms/"/>
    <ds:schemaRef ds:uri="http://schemas.microsoft.com/office/2006/metadata/properties"/>
    <ds:schemaRef ds:uri="http://schemas.openxmlformats.org/package/2006/metadata/core-properties"/>
    <ds:schemaRef ds:uri="http://schemas.microsoft.com/office/2006/documentManagement/types"/>
    <ds:schemaRef ds:uri="96e82a89-ba48-4728-b345-cf206dbec8f1"/>
    <ds:schemaRef ds:uri="2f5c8543-cf23-4718-a3b8-32b0a91d511a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2C297059-08A3-4D14-89DA-613DCBBE353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6e82a89-ba48-4728-b345-cf206dbec8f1"/>
    <ds:schemaRef ds:uri="2f5c8543-cf23-4718-a3b8-32b0a91d51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DAB7085B-D9CF-4930-865D-AE9ED154F05C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5bc72e09-8d7d-491f-a3d1-5693fc6e93f6}" enabled="1" method="Privileged" siteId="{2cda5d11-f0ac-46b3-967d-af1b2e1bd01a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60</Words>
  <Application>Microsoft Office PowerPoint</Application>
  <PresentationFormat>Breitbild</PresentationFormat>
  <Paragraphs>6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3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10" baseType="lpstr">
      <vt:lpstr>Arial</vt:lpstr>
      <vt:lpstr>Calibri</vt:lpstr>
      <vt:lpstr>SBB Light</vt:lpstr>
      <vt:lpstr>Symbol</vt:lpstr>
      <vt:lpstr>Wingdings 3</vt:lpstr>
      <vt:lpstr>1_20170515_PPT-Vorlage_NEU_16-9</vt:lpstr>
      <vt:lpstr>Benutzerdefiniertes Design</vt:lpstr>
      <vt:lpstr>1_Benutzerdefiniertes Design</vt:lpstr>
      <vt:lpstr>think-cell Folie</vt:lpstr>
      <vt:lpstr>Usagers des gares.</vt:lpstr>
    </vt:vector>
  </TitlesOfParts>
  <Company>SBB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Usagers des gares.</dc:title>
  <dc:creator>Meyer Raphael (KOM-PGA-VSF)</dc:creator>
  <cp:lastModifiedBy>Weigel Stefan (PAR-EPS)</cp:lastModifiedBy>
  <cp:revision>37</cp:revision>
  <dcterms:created xsi:type="dcterms:W3CDTF">2020-09-30T11:00:09Z</dcterms:created>
  <dcterms:modified xsi:type="dcterms:W3CDTF">2026-03-03T13:11:5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392CA6BBE5574789A5155D1822A344</vt:lpwstr>
  </property>
  <property fmtid="{D5CDD505-2E9C-101B-9397-08002B2CF9AE}" pid="3" name="_dlc_DocIdItemGuid">
    <vt:lpwstr>7f61737c-4fb7-4bc4-8821-d36f28de962c</vt:lpwstr>
  </property>
  <property fmtid="{D5CDD505-2E9C-101B-9397-08002B2CF9AE}" pid="4" name="TmpVertraulichkeit">
    <vt:lpwstr/>
  </property>
  <property fmtid="{D5CDD505-2E9C-101B-9397-08002B2CF9AE}" pid="5" name="TmpStatus">
    <vt:lpwstr/>
  </property>
  <property fmtid="{D5CDD505-2E9C-101B-9397-08002B2CF9AE}" pid="6" name="MSIP_Label_5bc72e09-8d7d-491f-a3d1-5693fc6e93f6_Enabled">
    <vt:lpwstr>true</vt:lpwstr>
  </property>
  <property fmtid="{D5CDD505-2E9C-101B-9397-08002B2CF9AE}" pid="7" name="MSIP_Label_5bc72e09-8d7d-491f-a3d1-5693fc6e93f6_SetDate">
    <vt:lpwstr>2021-10-19T13:12:15Z</vt:lpwstr>
  </property>
  <property fmtid="{D5CDD505-2E9C-101B-9397-08002B2CF9AE}" pid="8" name="MSIP_Label_5bc72e09-8d7d-491f-a3d1-5693fc6e93f6_Method">
    <vt:lpwstr>Privileged</vt:lpwstr>
  </property>
  <property fmtid="{D5CDD505-2E9C-101B-9397-08002B2CF9AE}" pid="9" name="MSIP_Label_5bc72e09-8d7d-491f-a3d1-5693fc6e93f6_Name">
    <vt:lpwstr>öffentlich</vt:lpwstr>
  </property>
  <property fmtid="{D5CDD505-2E9C-101B-9397-08002B2CF9AE}" pid="10" name="MSIP_Label_5bc72e09-8d7d-491f-a3d1-5693fc6e93f6_SiteId">
    <vt:lpwstr>2cda5d11-f0ac-46b3-967d-af1b2e1bd01a</vt:lpwstr>
  </property>
  <property fmtid="{D5CDD505-2E9C-101B-9397-08002B2CF9AE}" pid="11" name="MSIP_Label_5bc72e09-8d7d-491f-a3d1-5693fc6e93f6_ActionId">
    <vt:lpwstr>3b8d0866-56e4-4c4e-8fb7-7b1e972867f0</vt:lpwstr>
  </property>
  <property fmtid="{D5CDD505-2E9C-101B-9397-08002B2CF9AE}" pid="12" name="MSIP_Label_5bc72e09-8d7d-491f-a3d1-5693fc6e93f6_ContentBits">
    <vt:lpwstr>0</vt:lpwstr>
  </property>
  <property fmtid="{D5CDD505-2E9C-101B-9397-08002B2CF9AE}" pid="13" name="MediaServiceImageTags">
    <vt:lpwstr/>
  </property>
</Properties>
</file>